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11"/>
  </p:notesMasterIdLst>
  <p:handoutMasterIdLst>
    <p:handoutMasterId r:id="rId12"/>
  </p:handoutMasterIdLst>
  <p:sldIdLst>
    <p:sldId id="256" r:id="rId4"/>
    <p:sldId id="321" r:id="rId5"/>
    <p:sldId id="350" r:id="rId6"/>
    <p:sldId id="347" r:id="rId7"/>
    <p:sldId id="345" r:id="rId8"/>
    <p:sldId id="349" r:id="rId9"/>
    <p:sldId id="348" r:id="rId10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214" autoAdjust="0"/>
  </p:normalViewPr>
  <p:slideViewPr>
    <p:cSldViewPr showGuides="1">
      <p:cViewPr varScale="1">
        <p:scale>
          <a:sx n="66" d="100"/>
          <a:sy n="66" d="100"/>
        </p:scale>
        <p:origin x="618" y="66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3/08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3/08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 do Projeto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GRUPO KI DE +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50051 Amilton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50021 Carlos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50014 Marcel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50036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Wilian</a:t>
            </a: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Uma imagem contendo céu, interior, mesa, equipamentos eletrônicos&#10;&#10;Descrição gerada com alta confiança">
            <a:extLst>
              <a:ext uri="{FF2B5EF4-FFF2-40B4-BE49-F238E27FC236}">
                <a16:creationId xmlns:a16="http://schemas.microsoft.com/office/drawing/2014/main" id="{9C26C959-B8B0-4298-B4F3-A15937A143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997" y="1692399"/>
            <a:ext cx="8550956" cy="5734170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6D6F5651-8EE1-4C46-B880-C079DD1CD4AF}"/>
              </a:ext>
            </a:extLst>
          </p:cNvPr>
          <p:cNvSpPr/>
          <p:nvPr/>
        </p:nvSpPr>
        <p:spPr>
          <a:xfrm>
            <a:off x="3337099" y="769069"/>
            <a:ext cx="628646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P GAME – VG 8000</a:t>
            </a:r>
          </a:p>
        </p:txBody>
      </p:sp>
    </p:spTree>
    <p:extLst>
      <p:ext uri="{BB962C8B-B14F-4D97-AF65-F5344CB8AC3E}">
        <p14:creationId xmlns:p14="http://schemas.microsoft.com/office/powerpoint/2010/main" val="1225176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4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/>
              <a:t>Atividade</a:t>
            </a: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406151" y="1548383"/>
            <a:ext cx="12291988" cy="4890862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pt-BR" sz="3600" dirty="0">
                <a:solidFill>
                  <a:srgbClr val="253746"/>
                </a:solidFill>
                <a:latin typeface="Exo 2" panose="00000500000000000000" pitchFamily="50" charset="0"/>
              </a:rPr>
              <a:t>Escolha um dispositivo ou interface:</a:t>
            </a:r>
          </a:p>
          <a:p>
            <a:r>
              <a:rPr lang="pt-BR" sz="3600" dirty="0">
                <a:solidFill>
                  <a:srgbClr val="253746"/>
                </a:solidFill>
                <a:latin typeface="Exo 2" panose="00000500000000000000" pitchFamily="50" charset="0"/>
              </a:rPr>
              <a:t>Dê as suas impressões (Bom x Ruim) de como o dispositivo ou interface funciona;</a:t>
            </a:r>
          </a:p>
          <a:p>
            <a:r>
              <a:rPr lang="pt-BR" sz="3600" dirty="0">
                <a:solidFill>
                  <a:srgbClr val="253746"/>
                </a:solidFill>
                <a:latin typeface="Exo 2" panose="00000500000000000000" pitchFamily="50" charset="0"/>
              </a:rPr>
              <a:t>Pense em quais metas de interface ou experiência de usuário podem ter sido importantes e explique o porque;</a:t>
            </a:r>
          </a:p>
          <a:p>
            <a:r>
              <a:rPr lang="pt-BR" sz="3600" dirty="0">
                <a:solidFill>
                  <a:srgbClr val="253746"/>
                </a:solidFill>
                <a:latin typeface="Exo 2" panose="00000500000000000000" pitchFamily="50" charset="0"/>
              </a:rPr>
              <a:t>Crie 3 perguntas que podem ser feitas para traduzir se a interface funciona bem.</a:t>
            </a:r>
          </a:p>
          <a:p>
            <a:endParaRPr lang="pt-BR" sz="36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>
              <a:buNone/>
            </a:pPr>
            <a:r>
              <a:rPr lang="pt-BR" sz="3600" dirty="0">
                <a:solidFill>
                  <a:srgbClr val="253746"/>
                </a:solidFill>
                <a:latin typeface="Exo 2" panose="00000500000000000000" pitchFamily="50" charset="0"/>
              </a:rPr>
              <a:t>Vamos usar o KAHOOT</a:t>
            </a:r>
          </a:p>
          <a:p>
            <a:pPr marL="0" indent="0">
              <a:buFont typeface="Arial" pitchFamily="34" charset="0"/>
              <a:buNone/>
            </a:pPr>
            <a:endParaRPr lang="pt-BR" sz="36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>
              <a:buNone/>
            </a:pPr>
            <a:endParaRPr lang="pt-BR" sz="36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0843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672147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3000479" y="983576"/>
            <a:ext cx="10567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BOM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8462200" y="1038684"/>
            <a:ext cx="1202573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RUIM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65685" y="197131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ta resolução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7598525" y="212444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ntroles são fixo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609908" y="2124447"/>
            <a:ext cx="1667358" cy="873217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ecisava de um conector externo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7646405" y="3483478"/>
            <a:ext cx="1789092" cy="873217"/>
          </a:xfrm>
          <a:prstGeom prst="rect">
            <a:avLst/>
          </a:prstGeom>
          <a:solidFill>
            <a:srgbClr val="00D22E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ntroles não foram bem recebidos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561D4D6A-2B65-48ED-A5C9-2626AE80BBDB}"/>
              </a:ext>
            </a:extLst>
          </p:cNvPr>
          <p:cNvSpPr/>
          <p:nvPr/>
        </p:nvSpPr>
        <p:spPr>
          <a:xfrm>
            <a:off x="1165685" y="3046869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abos longo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62DDCE84-B3A6-48A7-AC29-35A48756C786}"/>
              </a:ext>
            </a:extLst>
          </p:cNvPr>
          <p:cNvSpPr/>
          <p:nvPr/>
        </p:nvSpPr>
        <p:spPr>
          <a:xfrm>
            <a:off x="3726791" y="3062578"/>
            <a:ext cx="1667358" cy="1562654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adrão de cartucho japonês e americano (comum na época)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01C86B54-84B1-4D19-9C4F-BA90F69C8A8D}"/>
              </a:ext>
            </a:extLst>
          </p:cNvPr>
          <p:cNvSpPr/>
          <p:nvPr/>
        </p:nvSpPr>
        <p:spPr>
          <a:xfrm>
            <a:off x="3781914" y="1971309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acto</a:t>
            </a: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6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Metas de Interfac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rgbClr val="253746"/>
                </a:solidFill>
                <a:latin typeface="Exo 2" panose="00000500000000000000" pitchFamily="50" charset="0"/>
              </a:rPr>
              <a:t>Rodar jogos do NES e SEG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3200" b="1" dirty="0">
                <a:solidFill>
                  <a:srgbClr val="253746"/>
                </a:solidFill>
                <a:latin typeface="Exo 2" panose="00000500000000000000" pitchFamily="50" charset="0"/>
              </a:rPr>
              <a:t>Acessibilidad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3200" b="1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699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7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/>
              <a:t>Perguntas a serem realizadas</a:t>
            </a: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406151" y="1548383"/>
            <a:ext cx="12291988" cy="4890862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Você joga os jogos dos dois </a:t>
            </a:r>
            <a:r>
              <a:rPr lang="pt-BR" sz="3600" b="1">
                <a:solidFill>
                  <a:srgbClr val="253746"/>
                </a:solidFill>
                <a:latin typeface="Exo 2" panose="00000500000000000000" pitchFamily="50" charset="0"/>
              </a:rPr>
              <a:t>consoles?</a:t>
            </a:r>
            <a:endParaRPr lang="pt-BR" sz="36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Tem jogos próprios?</a:t>
            </a:r>
          </a:p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Os controles são adaptáveis para ambos os consoles?</a:t>
            </a:r>
          </a:p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Qual a sua renda mensal?</a:t>
            </a:r>
          </a:p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O console tem boa vida útil?</a:t>
            </a:r>
          </a:p>
          <a:p>
            <a:r>
              <a:rPr lang="pt-BR" sz="3600" b="1" dirty="0">
                <a:solidFill>
                  <a:srgbClr val="253746"/>
                </a:solidFill>
                <a:latin typeface="Exo 2" panose="00000500000000000000" pitchFamily="50" charset="0"/>
              </a:rPr>
              <a:t>Considerando a sua experiência com o NES e/ou SEGA o Top Game atende as suas necessidades?</a:t>
            </a:r>
          </a:p>
          <a:p>
            <a:endParaRPr lang="pt-BR" sz="36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endParaRPr lang="pt-BR" sz="36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endParaRPr lang="pt-BR" sz="36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6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54</TotalTime>
  <Words>186</Words>
  <Application>Microsoft Office PowerPoint</Application>
  <PresentationFormat>Personalizar</PresentationFormat>
  <Paragraphs>41</Paragraphs>
  <Slides>7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9" baseType="lpstr">
      <vt:lpstr>Arial</vt:lpstr>
      <vt:lpstr>Calibri</vt:lpstr>
      <vt:lpstr>Exo 2</vt:lpstr>
      <vt:lpstr>MV Boli</vt:lpstr>
      <vt:lpstr>Simplon BP Medium</vt:lpstr>
      <vt:lpstr>Simplon BP Regular</vt:lpstr>
      <vt:lpstr>Simplon Oi Headline</vt:lpstr>
      <vt:lpstr>Tahoma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Amilton Brune</cp:lastModifiedBy>
  <cp:revision>192</cp:revision>
  <dcterms:created xsi:type="dcterms:W3CDTF">2016-12-01T16:19:35Z</dcterms:created>
  <dcterms:modified xsi:type="dcterms:W3CDTF">2018-08-14T00:45:07Z</dcterms:modified>
</cp:coreProperties>
</file>